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1" r:id="rId2"/>
  </p:sldMasterIdLst>
  <p:notesMasterIdLst>
    <p:notesMasterId r:id="rId8"/>
  </p:notesMasterIdLst>
  <p:sldIdLst>
    <p:sldId id="259" r:id="rId3"/>
    <p:sldId id="264" r:id="rId4"/>
    <p:sldId id="260" r:id="rId5"/>
    <p:sldId id="265" r:id="rId6"/>
    <p:sldId id="266" r:id="rId7"/>
  </p:sldIdLst>
  <p:sldSz cx="12192000" cy="6858000"/>
  <p:notesSz cx="6819900" cy="9918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dhya Anand" initials="S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9F9"/>
    <a:srgbClr val="CC2655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A340EB-E0BE-4151-8AE2-DC96EFEEB4E9}" type="datetimeFigureOut">
              <a:rPr lang="en-GB" smtClean="0"/>
              <a:t>09/08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39838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0" y="4773374"/>
            <a:ext cx="5455920" cy="3905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088212-D331-437D-BB98-C91E9A7613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698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42987-E030-43C4-860D-79FBF3477739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696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809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780394" y="6152561"/>
            <a:ext cx="6829706" cy="360000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516320" y="6152561"/>
            <a:ext cx="914426" cy="360000"/>
          </a:xfrm>
          <a:prstGeom prst="rect">
            <a:avLst/>
          </a:prstGeom>
        </p:spPr>
        <p:txBody>
          <a:bodyPr/>
          <a:lstStyle/>
          <a:p>
            <a:pPr defTabSz="457200"/>
            <a:fld id="{75A4F164-3A46-4CEE-A25C-CA523D5E42F3}" type="slidenum">
              <a:rPr lang="en-US">
                <a:solidFill>
                  <a:srgbClr val="000000"/>
                </a:solidFill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8"/>
            <a:ext cx="1113458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37182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9702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1718" y="3347351"/>
            <a:ext cx="5365749" cy="1758950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19" indent="0">
              <a:buNone/>
              <a:defRPr/>
            </a:lvl3pPr>
          </a:lstStyle>
          <a:p>
            <a:pPr lvl="0"/>
            <a:r>
              <a:rPr lang="en-US" dirty="0"/>
              <a:t>Master Title Slide Headline</a:t>
            </a:r>
          </a:p>
        </p:txBody>
      </p:sp>
      <p:pic>
        <p:nvPicPr>
          <p:cNvPr id="20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387" y="5201257"/>
            <a:ext cx="4445000" cy="1181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1862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" name="think-cell Slide" r:id="rId4" imgW="216" imgH="216" progId="">
                  <p:embed/>
                </p:oleObj>
              </mc:Choice>
              <mc:Fallback>
                <p:oleObj name="think-cell Slide" r:id="rId4" imgW="216" imgH="21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607488" y="4260146"/>
            <a:ext cx="10977033" cy="1162800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121A4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prstClr val="white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6" name="Picture 2" descr="Dixons Carphone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6250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220"/>
            <a:ext cx="12192000" cy="75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37639" y="233800"/>
            <a:ext cx="10940348" cy="509648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9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>
            <a:grpSpLocks noChangeAspect="1"/>
          </p:cNvGrpSpPr>
          <p:nvPr userDrawn="1"/>
        </p:nvGrpSpPr>
        <p:grpSpPr bwMode="auto">
          <a:xfrm>
            <a:off x="11093725" y="6572735"/>
            <a:ext cx="952016" cy="216000"/>
            <a:chOff x="5094" y="3939"/>
            <a:chExt cx="1488" cy="255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089 w 222"/>
                <a:gd name="T1" fmla="*/ 463 h 94"/>
                <a:gd name="T2" fmla="*/ 2920 w 222"/>
                <a:gd name="T3" fmla="*/ 463 h 94"/>
                <a:gd name="T4" fmla="*/ 2396 w 222"/>
                <a:gd name="T5" fmla="*/ 106 h 94"/>
                <a:gd name="T6" fmla="*/ 446 w 222"/>
                <a:gd name="T7" fmla="*/ 328 h 94"/>
                <a:gd name="T8" fmla="*/ 406 w 222"/>
                <a:gd name="T9" fmla="*/ 1082 h 94"/>
                <a:gd name="T10" fmla="*/ 2011 w 222"/>
                <a:gd name="T11" fmla="*/ 1143 h 94"/>
                <a:gd name="T12" fmla="*/ 2747 w 222"/>
                <a:gd name="T13" fmla="*/ 815 h 94"/>
                <a:gd name="T14" fmla="*/ 1905 w 222"/>
                <a:gd name="T15" fmla="*/ 815 h 94"/>
                <a:gd name="T16" fmla="*/ 1487 w 222"/>
                <a:gd name="T17" fmla="*/ 947 h 94"/>
                <a:gd name="T18" fmla="*/ 1036 w 222"/>
                <a:gd name="T19" fmla="*/ 631 h 94"/>
                <a:gd name="T20" fmla="*/ 1655 w 222"/>
                <a:gd name="T21" fmla="*/ 328 h 94"/>
                <a:gd name="T22" fmla="*/ 2089 w 222"/>
                <a:gd name="T23" fmla="*/ 463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819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rgbClr val="00BBEE"/>
                </a:solidFill>
              </a:defRPr>
            </a:lvl1pPr>
            <a:lvl2pPr marL="231785" indent="-231785">
              <a:spcBef>
                <a:spcPts val="624"/>
              </a:spcBef>
              <a:buFont typeface="Arial" pitchFamily="34" charset="0"/>
              <a:buChar char="•"/>
              <a:defRPr/>
            </a:lvl2pPr>
            <a:lvl3pPr marL="457218" indent="-231785">
              <a:buFont typeface="Arial" pitchFamily="34" charset="0"/>
              <a:buChar char="–"/>
              <a:defRPr/>
            </a:lvl3pPr>
            <a:lvl4pPr marL="689003" indent="-225435">
              <a:buFont typeface="Arial" pitchFamily="34" charset="0"/>
              <a:buChar char="•"/>
              <a:defRPr/>
            </a:lvl4pPr>
            <a:lvl5pPr marL="914436" indent="-225435">
              <a:buFont typeface="Arial" pitchFamily="34" charset="0"/>
              <a:buChar char="–"/>
              <a:tabLst/>
              <a:defRPr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11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 userDrawn="1"/>
        </p:nvCxnSpPr>
        <p:spPr>
          <a:xfrm>
            <a:off x="610659" y="960024"/>
            <a:ext cx="11581341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611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5" y="1381125"/>
            <a:ext cx="5367865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6212422" y="1381125"/>
            <a:ext cx="5367865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12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/>
          <p:cNvCxnSpPr/>
          <p:nvPr userDrawn="1"/>
        </p:nvCxnSpPr>
        <p:spPr>
          <a:xfrm>
            <a:off x="610659" y="960024"/>
            <a:ext cx="11581341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736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3" y="1381125"/>
            <a:ext cx="5367864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rgbClr val="00BBEE"/>
                </a:solidFill>
              </a:defRPr>
            </a:lvl1pPr>
            <a:lvl2pPr marL="231785" indent="-231785">
              <a:buFont typeface="Arial" pitchFamily="34" charset="0"/>
              <a:buChar char="•"/>
              <a:defRPr sz="2000"/>
            </a:lvl2pPr>
            <a:lvl3pPr marL="457218" indent="-231785">
              <a:buFont typeface="Arial" pitchFamily="34" charset="0"/>
              <a:buChar char="–"/>
              <a:defRPr sz="1800"/>
            </a:lvl3pPr>
            <a:lvl4pPr marL="689003" indent="-225435">
              <a:buFont typeface="Arial" pitchFamily="34" charset="0"/>
              <a:buChar char="•"/>
              <a:defRPr sz="1600"/>
            </a:lvl4pPr>
            <a:lvl5pPr marL="914436" indent="-22543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214533" y="1381125"/>
            <a:ext cx="5367864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rgbClr val="00BBEE"/>
                </a:solidFill>
              </a:defRPr>
            </a:lvl1pPr>
            <a:lvl2pPr marL="231785" indent="-231785">
              <a:buFont typeface="Arial" pitchFamily="34" charset="0"/>
              <a:buChar char="•"/>
              <a:defRPr sz="2000"/>
            </a:lvl2pPr>
            <a:lvl3pPr marL="457218" indent="-231785">
              <a:buFont typeface="Arial" pitchFamily="34" charset="0"/>
              <a:buChar char="–"/>
              <a:defRPr sz="1800"/>
            </a:lvl3pPr>
            <a:lvl4pPr marL="689003" indent="-225435">
              <a:buFont typeface="Arial" pitchFamily="34" charset="0"/>
              <a:buChar char="•"/>
              <a:defRPr sz="1600"/>
            </a:lvl4pPr>
            <a:lvl5pPr marL="914436" indent="-22543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12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/>
          <p:cNvCxnSpPr/>
          <p:nvPr userDrawn="1"/>
        </p:nvCxnSpPr>
        <p:spPr>
          <a:xfrm>
            <a:off x="610659" y="960024"/>
            <a:ext cx="11581341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5298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Slide" r:id="rId4" imgW="216" imgH="216" progId="">
                  <p:embed/>
                </p:oleObj>
              </mc:Choice>
              <mc:Fallback>
                <p:oleObj name="think-cell Slide" r:id="rId4" imgW="216" imgH="21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 userDrawn="1"/>
        </p:nvCxnSpPr>
        <p:spPr>
          <a:xfrm>
            <a:off x="610659" y="960024"/>
            <a:ext cx="11581341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rgbClr val="121A43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8" name="Picture 2" descr="Dixons Carphone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1063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 bwMode="auto">
          <a:xfrm>
            <a:off x="11093725" y="6572735"/>
            <a:ext cx="952016" cy="216000"/>
            <a:chOff x="5094" y="3939"/>
            <a:chExt cx="1488" cy="255"/>
          </a:xfrm>
        </p:grpSpPr>
        <p:sp>
          <p:nvSpPr>
            <p:cNvPr id="5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089 w 222"/>
                <a:gd name="T1" fmla="*/ 463 h 94"/>
                <a:gd name="T2" fmla="*/ 2920 w 222"/>
                <a:gd name="T3" fmla="*/ 463 h 94"/>
                <a:gd name="T4" fmla="*/ 2396 w 222"/>
                <a:gd name="T5" fmla="*/ 106 h 94"/>
                <a:gd name="T6" fmla="*/ 446 w 222"/>
                <a:gd name="T7" fmla="*/ 328 h 94"/>
                <a:gd name="T8" fmla="*/ 406 w 222"/>
                <a:gd name="T9" fmla="*/ 1082 h 94"/>
                <a:gd name="T10" fmla="*/ 2011 w 222"/>
                <a:gd name="T11" fmla="*/ 1143 h 94"/>
                <a:gd name="T12" fmla="*/ 2747 w 222"/>
                <a:gd name="T13" fmla="*/ 815 h 94"/>
                <a:gd name="T14" fmla="*/ 1905 w 222"/>
                <a:gd name="T15" fmla="*/ 815 h 94"/>
                <a:gd name="T16" fmla="*/ 1487 w 222"/>
                <a:gd name="T17" fmla="*/ 947 h 94"/>
                <a:gd name="T18" fmla="*/ 1036 w 222"/>
                <a:gd name="T19" fmla="*/ 631 h 94"/>
                <a:gd name="T20" fmla="*/ 1655 w 222"/>
                <a:gd name="T21" fmla="*/ 328 h 94"/>
                <a:gd name="T22" fmla="*/ 2089 w 222"/>
                <a:gd name="T23" fmla="*/ 463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94214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1718" y="3347351"/>
            <a:ext cx="5365749" cy="1758950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19" indent="0">
              <a:buNone/>
              <a:defRPr/>
            </a:lvl3pPr>
          </a:lstStyle>
          <a:p>
            <a:pPr lvl="0"/>
            <a:r>
              <a:rPr lang="en-US" dirty="0"/>
              <a:t>Master Title Slide Headline</a:t>
            </a:r>
          </a:p>
        </p:txBody>
      </p:sp>
      <p:pic>
        <p:nvPicPr>
          <p:cNvPr id="20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387" y="5201257"/>
            <a:ext cx="4445000" cy="1181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347053" y="5416731"/>
            <a:ext cx="3435716" cy="750151"/>
            <a:chOff x="459321" y="5788818"/>
            <a:chExt cx="2183716" cy="635721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3" name="Freeform 22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80"/>
              <a:endParaRPr lang="en-CA" sz="252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84031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0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159663" y="3535018"/>
            <a:ext cx="6746283" cy="685800"/>
          </a:xfrm>
        </p:spPr>
        <p:txBody>
          <a:bodyPr lIns="91440" rIns="91440"/>
          <a:lstStyle>
            <a:lvl1pPr>
              <a:lnSpc>
                <a:spcPct val="125000"/>
              </a:lnSpc>
              <a:defRPr sz="2800">
                <a:solidFill>
                  <a:srgbClr val="00529B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5196752" y="4251415"/>
            <a:ext cx="5967895" cy="685800"/>
          </a:xfrm>
        </p:spPr>
        <p:txBody>
          <a:bodyPr/>
          <a:lstStyle>
            <a:lvl1pPr marL="0" indent="0">
              <a:buFont typeface="Wingdings 2" pitchFamily="18" charset="2"/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96301239"/>
      </p:ext>
    </p:extLst>
  </p:cSld>
  <p:clrMapOvr>
    <a:masterClrMapping/>
  </p:clrMapOvr>
  <p:transition/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4" imgW="216" imgH="216" progId="">
                  <p:embed/>
                </p:oleObj>
              </mc:Choice>
              <mc:Fallback>
                <p:oleObj name="think-cell Slide" r:id="rId4" imgW="216" imgH="21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607488" y="4260146"/>
            <a:ext cx="10977033" cy="1162800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121A4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prstClr val="white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6" name="Picture 2" descr="Dixons Carphone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7582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6423" y="11101"/>
            <a:ext cx="10940348" cy="55180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-12196" y="761244"/>
            <a:ext cx="9216000" cy="0"/>
          </a:xfrm>
          <a:prstGeom prst="line">
            <a:avLst/>
          </a:prstGeom>
          <a:ln w="19050">
            <a:solidFill>
              <a:srgbClr val="FF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rot="5400000">
            <a:off x="9305895" y="378000"/>
            <a:ext cx="756000" cy="0"/>
          </a:xfrm>
          <a:prstGeom prst="line">
            <a:avLst/>
          </a:prstGeom>
          <a:ln w="19050"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B2BE019C-11DB-4DBA-8B74-FCFAEEDF8021}"/>
              </a:ext>
            </a:extLst>
          </p:cNvPr>
          <p:cNvSpPr txBox="1"/>
          <p:nvPr userDrawn="1"/>
        </p:nvSpPr>
        <p:spPr>
          <a:xfrm>
            <a:off x="9975684" y="177945"/>
            <a:ext cx="22618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rgbClr val="0070C0"/>
                </a:solidFill>
              </a:rPr>
              <a:t>Sha Innovations</a:t>
            </a:r>
          </a:p>
        </p:txBody>
      </p:sp>
    </p:spTree>
    <p:extLst>
      <p:ext uri="{BB962C8B-B14F-4D97-AF65-F5344CB8AC3E}">
        <p14:creationId xmlns:p14="http://schemas.microsoft.com/office/powerpoint/2010/main" val="208293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rgbClr val="00BBEE"/>
                </a:solidFill>
              </a:defRPr>
            </a:lvl1pPr>
            <a:lvl2pPr marL="231785" indent="-231785">
              <a:spcBef>
                <a:spcPts val="624"/>
              </a:spcBef>
              <a:buFont typeface="Arial" pitchFamily="34" charset="0"/>
              <a:buChar char="•"/>
              <a:defRPr/>
            </a:lvl2pPr>
            <a:lvl3pPr marL="457218" indent="-231785">
              <a:buFont typeface="Arial" pitchFamily="34" charset="0"/>
              <a:buChar char="–"/>
              <a:defRPr/>
            </a:lvl3pPr>
            <a:lvl4pPr marL="689003" indent="-225435">
              <a:buFont typeface="Arial" pitchFamily="34" charset="0"/>
              <a:buChar char="•"/>
              <a:defRPr/>
            </a:lvl4pPr>
            <a:lvl5pPr marL="914436" indent="-225435">
              <a:buFont typeface="Arial" pitchFamily="34" charset="0"/>
              <a:buChar char="–"/>
              <a:tabLst/>
              <a:defRPr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0659" y="960024"/>
            <a:ext cx="11581341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847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5" y="1381125"/>
            <a:ext cx="5367865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6212422" y="1381125"/>
            <a:ext cx="5367865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10659" y="960024"/>
            <a:ext cx="11581341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3AE1D53-9C7F-4E67-8549-FC0157F33F24}"/>
              </a:ext>
            </a:extLst>
          </p:cNvPr>
          <p:cNvSpPr txBox="1"/>
          <p:nvPr userDrawn="1"/>
        </p:nvSpPr>
        <p:spPr>
          <a:xfrm>
            <a:off x="109182" y="6428096"/>
            <a:ext cx="43672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/>
              <a:t>Hedgehog Business Solutions</a:t>
            </a:r>
          </a:p>
        </p:txBody>
      </p:sp>
    </p:spTree>
    <p:extLst>
      <p:ext uri="{BB962C8B-B14F-4D97-AF65-F5344CB8AC3E}">
        <p14:creationId xmlns:p14="http://schemas.microsoft.com/office/powerpoint/2010/main" val="781360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3" y="1381125"/>
            <a:ext cx="5367864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rgbClr val="00BBEE"/>
                </a:solidFill>
              </a:defRPr>
            </a:lvl1pPr>
            <a:lvl2pPr marL="231785" indent="-231785">
              <a:buFont typeface="Arial" pitchFamily="34" charset="0"/>
              <a:buChar char="•"/>
              <a:defRPr sz="2000"/>
            </a:lvl2pPr>
            <a:lvl3pPr marL="457218" indent="-231785">
              <a:buFont typeface="Arial" pitchFamily="34" charset="0"/>
              <a:buChar char="–"/>
              <a:defRPr sz="1800"/>
            </a:lvl3pPr>
            <a:lvl4pPr marL="689003" indent="-225435">
              <a:buFont typeface="Arial" pitchFamily="34" charset="0"/>
              <a:buChar char="•"/>
              <a:defRPr sz="1600"/>
            </a:lvl4pPr>
            <a:lvl5pPr marL="914436" indent="-22543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214533" y="1381125"/>
            <a:ext cx="5367864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rgbClr val="00BBEE"/>
                </a:solidFill>
              </a:defRPr>
            </a:lvl1pPr>
            <a:lvl2pPr marL="231785" indent="-231785">
              <a:buFont typeface="Arial" pitchFamily="34" charset="0"/>
              <a:buChar char="•"/>
              <a:defRPr sz="2000"/>
            </a:lvl2pPr>
            <a:lvl3pPr marL="457218" indent="-231785">
              <a:buFont typeface="Arial" pitchFamily="34" charset="0"/>
              <a:buChar char="–"/>
              <a:defRPr sz="1800"/>
            </a:lvl3pPr>
            <a:lvl4pPr marL="689003" indent="-225435">
              <a:buFont typeface="Arial" pitchFamily="34" charset="0"/>
              <a:buChar char="•"/>
              <a:defRPr sz="1600"/>
            </a:lvl4pPr>
            <a:lvl5pPr marL="914436" indent="-22543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12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/>
          <p:cNvCxnSpPr/>
          <p:nvPr userDrawn="1"/>
        </p:nvCxnSpPr>
        <p:spPr>
          <a:xfrm>
            <a:off x="610659" y="960024"/>
            <a:ext cx="11581341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588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" name="think-cell Slide" r:id="rId4" imgW="216" imgH="216" progId="">
                  <p:embed/>
                </p:oleObj>
              </mc:Choice>
              <mc:Fallback>
                <p:oleObj name="think-cell Slide" r:id="rId4" imgW="216" imgH="21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 userDrawn="1"/>
        </p:nvCxnSpPr>
        <p:spPr>
          <a:xfrm>
            <a:off x="610659" y="960024"/>
            <a:ext cx="11581341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rgbClr val="121A43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8" name="Picture 2" descr="Dixons Carphone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2141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80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 defTabSz="914180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9" name="Picture 2" descr="Dixons Carphon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1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6941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.gi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81125"/>
            <a:ext cx="10970683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14717" y="170125"/>
            <a:ext cx="10940348" cy="78555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445685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914436" rtl="0" eaLnBrk="1" latinLnBrk="0" hangingPunct="1">
        <a:lnSpc>
          <a:spcPts val="2600"/>
        </a:lnSpc>
        <a:spcBef>
          <a:spcPct val="0"/>
        </a:spcBef>
        <a:buNone/>
        <a:defRPr sz="2200" b="1" kern="1200">
          <a:solidFill>
            <a:srgbClr val="121A43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85" indent="-231785" algn="l" defTabSz="914436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6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18" indent="-231785" algn="l" defTabSz="914436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4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9003" indent="-231785" algn="l" defTabSz="914436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0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36" indent="-225435" algn="l" defTabSz="914436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221" indent="-231785" algn="l" defTabSz="914436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700" indent="-228610" algn="l" defTabSz="91443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9" indent="-228610" algn="l" defTabSz="91443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38" indent="-228610" algn="l" defTabSz="91443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56" indent="-228610" algn="l" defTabSz="91443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8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36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5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74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91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10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28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46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81125"/>
            <a:ext cx="10970683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14717" y="170125"/>
            <a:ext cx="10940348" cy="78555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pic>
        <p:nvPicPr>
          <p:cNvPr id="5" name="Picture 2" descr="Dixons Carphone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3" y="6423715"/>
            <a:ext cx="1346608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4336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hf hdr="0" ftr="0" dt="0"/>
  <p:txStyles>
    <p:titleStyle>
      <a:lvl1pPr algn="l" defTabSz="914436" rtl="0" eaLnBrk="1" latinLnBrk="0" hangingPunct="1">
        <a:lnSpc>
          <a:spcPts val="2600"/>
        </a:lnSpc>
        <a:spcBef>
          <a:spcPct val="0"/>
        </a:spcBef>
        <a:buNone/>
        <a:defRPr sz="2200" b="1" kern="1200">
          <a:solidFill>
            <a:srgbClr val="121A43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85" indent="-231785" algn="l" defTabSz="914436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6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18" indent="-231785" algn="l" defTabSz="914436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4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9003" indent="-231785" algn="l" defTabSz="914436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0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36" indent="-225435" algn="l" defTabSz="914436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221" indent="-231785" algn="l" defTabSz="914436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700" indent="-228610" algn="l" defTabSz="91443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9" indent="-228610" algn="l" defTabSz="91443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38" indent="-228610" algn="l" defTabSz="91443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56" indent="-228610" algn="l" defTabSz="91443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8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36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5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74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91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10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28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46" algn="l" defTabSz="9144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941695" y="3711775"/>
            <a:ext cx="6904291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457200"/>
            <a:r>
              <a:rPr lang="en-US" dirty="0">
                <a:solidFill>
                  <a:srgbClr val="000000"/>
                </a:solidFill>
              </a:rPr>
              <a:t>Resource Proposal</a:t>
            </a:r>
          </a:p>
          <a:p>
            <a:pPr defTabSz="457200"/>
            <a:r>
              <a:rPr lang="en-US" sz="2000" dirty="0">
                <a:solidFill>
                  <a:srgbClr val="000000"/>
                </a:solidFill>
              </a:rPr>
              <a:t>August 2017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62B9F2B-1046-417A-9A3E-F60EC522C66D}"/>
              </a:ext>
            </a:extLst>
          </p:cNvPr>
          <p:cNvSpPr/>
          <p:nvPr/>
        </p:nvSpPr>
        <p:spPr>
          <a:xfrm>
            <a:off x="0" y="0"/>
            <a:ext cx="1883391" cy="18424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528AA66-6325-4092-B36D-BD31F39E3445}"/>
              </a:ext>
            </a:extLst>
          </p:cNvPr>
          <p:cNvSpPr/>
          <p:nvPr/>
        </p:nvSpPr>
        <p:spPr>
          <a:xfrm>
            <a:off x="0" y="-1"/>
            <a:ext cx="4156276" cy="349506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F55E76-EE4F-4419-B72F-FE7B7D1AFC02}"/>
              </a:ext>
            </a:extLst>
          </p:cNvPr>
          <p:cNvSpPr/>
          <p:nvPr/>
        </p:nvSpPr>
        <p:spPr>
          <a:xfrm>
            <a:off x="10308609" y="5029200"/>
            <a:ext cx="1883391" cy="18424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5E6D984-3923-4A86-A735-4E2E5324F57E}"/>
              </a:ext>
            </a:extLst>
          </p:cNvPr>
          <p:cNvSpPr/>
          <p:nvPr/>
        </p:nvSpPr>
        <p:spPr>
          <a:xfrm>
            <a:off x="8013512" y="3295311"/>
            <a:ext cx="4156276" cy="357633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8" descr="fleet_template-">
            <a:extLst>
              <a:ext uri="{FF2B5EF4-FFF2-40B4-BE49-F238E27FC236}">
                <a16:creationId xmlns:a16="http://schemas.microsoft.com/office/drawing/2014/main" id="{D281F7D6-DEDA-404C-9662-0438D8C47E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r="37214" b="11789"/>
          <a:stretch/>
        </p:blipFill>
        <p:spPr bwMode="auto">
          <a:xfrm>
            <a:off x="3320955" y="231470"/>
            <a:ext cx="5741159" cy="3421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DD8285-EB4D-4875-919F-9BC4DC848C83}"/>
              </a:ext>
            </a:extLst>
          </p:cNvPr>
          <p:cNvCxnSpPr/>
          <p:nvPr/>
        </p:nvCxnSpPr>
        <p:spPr>
          <a:xfrm>
            <a:off x="0" y="3810000"/>
            <a:ext cx="121697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840539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242079" y="13244"/>
            <a:ext cx="10940348" cy="766685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7500"/>
          </a:bodyPr>
          <a:lstStyle>
            <a:lvl1pPr algn="l" defTabSz="91443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>
                <a:solidFill>
                  <a:srgbClr val="121A4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sz="2700" dirty="0">
                <a:solidFill>
                  <a:srgbClr val="0070C0"/>
                </a:solidFill>
                <a:latin typeface="Calibri" panose="020F0502020204030204" pitchFamily="34" charset="0"/>
              </a:rPr>
              <a:t>Our understanding of Current Challenges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71EF33-90F7-41CC-ABD5-B982B833939E}"/>
              </a:ext>
            </a:extLst>
          </p:cNvPr>
          <p:cNvSpPr txBox="1"/>
          <p:nvPr/>
        </p:nvSpPr>
        <p:spPr>
          <a:xfrm>
            <a:off x="2882936" y="1450216"/>
            <a:ext cx="847779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C00000"/>
                </a:solidFill>
              </a:rPr>
              <a:t>Cost</a:t>
            </a:r>
            <a:r>
              <a:rPr lang="en-GB" dirty="0"/>
              <a:t> – </a:t>
            </a:r>
            <a:r>
              <a:rPr lang="en-GB" sz="2000" dirty="0"/>
              <a:t>Need for significantly reducing cost and consolidate capacities</a:t>
            </a:r>
            <a:endParaRPr lang="en-GB" dirty="0"/>
          </a:p>
          <a:p>
            <a:endParaRPr lang="en-GB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D520E7A-2AC4-464D-8FEA-F8060BD5035E}"/>
              </a:ext>
            </a:extLst>
          </p:cNvPr>
          <p:cNvSpPr/>
          <p:nvPr/>
        </p:nvSpPr>
        <p:spPr>
          <a:xfrm>
            <a:off x="415636" y="1066800"/>
            <a:ext cx="1734430" cy="1413164"/>
          </a:xfrm>
          <a:prstGeom prst="roundRect">
            <a:avLst/>
          </a:prstGeom>
          <a:solidFill>
            <a:srgbClr val="CC26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FFFF00"/>
                </a:solidFill>
              </a:rPr>
              <a:t>Cost &amp; Capacity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3BBD26D-3212-45BC-B5FD-D431F2789DBE}"/>
              </a:ext>
            </a:extLst>
          </p:cNvPr>
          <p:cNvSpPr/>
          <p:nvPr/>
        </p:nvSpPr>
        <p:spPr>
          <a:xfrm>
            <a:off x="415636" y="2766835"/>
            <a:ext cx="1734430" cy="1413164"/>
          </a:xfrm>
          <a:prstGeom prst="roundRect">
            <a:avLst/>
          </a:prstGeom>
          <a:solidFill>
            <a:srgbClr val="CC26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FFFF00"/>
                </a:solidFill>
              </a:rPr>
              <a:t>Modernisation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B89BD219-FF63-42BA-87D3-F5A09CA48BC1}"/>
              </a:ext>
            </a:extLst>
          </p:cNvPr>
          <p:cNvSpPr/>
          <p:nvPr/>
        </p:nvSpPr>
        <p:spPr>
          <a:xfrm rot="5400000">
            <a:off x="2237976" y="1600420"/>
            <a:ext cx="557050" cy="22903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CEB172-E6D5-4FC3-9231-F7CDD6FA64B0}"/>
              </a:ext>
            </a:extLst>
          </p:cNvPr>
          <p:cNvSpPr txBox="1"/>
          <p:nvPr/>
        </p:nvSpPr>
        <p:spPr>
          <a:xfrm>
            <a:off x="2882936" y="2877226"/>
            <a:ext cx="847779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C00000"/>
                </a:solidFill>
              </a:rPr>
              <a:t>Move to higher versions </a:t>
            </a:r>
            <a:r>
              <a:rPr lang="en-GB" dirty="0"/>
              <a:t>– </a:t>
            </a:r>
            <a:r>
              <a:rPr lang="en-GB" sz="2000" dirty="0"/>
              <a:t>Leverage resources’ knowledge to move into higher version of existing software to provide better software capabilities</a:t>
            </a:r>
            <a:endParaRPr lang="en-GB" dirty="0"/>
          </a:p>
          <a:p>
            <a:endParaRPr lang="en-GB" dirty="0"/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3E0D9788-FCE5-4C51-AF5F-A97DD29F288C}"/>
              </a:ext>
            </a:extLst>
          </p:cNvPr>
          <p:cNvSpPr/>
          <p:nvPr/>
        </p:nvSpPr>
        <p:spPr>
          <a:xfrm rot="5400000">
            <a:off x="2237976" y="3290675"/>
            <a:ext cx="557050" cy="22903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10294D3-15CE-4639-8523-BBAD1B80C1D9}"/>
              </a:ext>
            </a:extLst>
          </p:cNvPr>
          <p:cNvSpPr/>
          <p:nvPr/>
        </p:nvSpPr>
        <p:spPr>
          <a:xfrm>
            <a:off x="415636" y="4494926"/>
            <a:ext cx="1734430" cy="1413164"/>
          </a:xfrm>
          <a:prstGeom prst="roundRect">
            <a:avLst/>
          </a:prstGeom>
          <a:solidFill>
            <a:srgbClr val="CC26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rgbClr val="FFFF00"/>
                </a:solidFill>
              </a:rPr>
              <a:t>Business Growt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E3E08B-8353-4485-ABE5-AF870AB31225}"/>
              </a:ext>
            </a:extLst>
          </p:cNvPr>
          <p:cNvSpPr txBox="1"/>
          <p:nvPr/>
        </p:nvSpPr>
        <p:spPr>
          <a:xfrm>
            <a:off x="2882936" y="4801398"/>
            <a:ext cx="847779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C00000"/>
                </a:solidFill>
              </a:rPr>
              <a:t>Grow the business </a:t>
            </a:r>
            <a:r>
              <a:rPr lang="en-GB" dirty="0"/>
              <a:t>– </a:t>
            </a:r>
            <a:r>
              <a:rPr lang="en-GB" sz="2000" dirty="0"/>
              <a:t>Limited bandwidth to expand business  </a:t>
            </a:r>
            <a:endParaRPr lang="en-GB" dirty="0"/>
          </a:p>
          <a:p>
            <a:endParaRPr lang="en-GB" dirty="0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1ED7EACC-BFC7-4889-8FF6-0D808E17FF83}"/>
              </a:ext>
            </a:extLst>
          </p:cNvPr>
          <p:cNvSpPr/>
          <p:nvPr/>
        </p:nvSpPr>
        <p:spPr>
          <a:xfrm rot="5400000">
            <a:off x="2237976" y="5018766"/>
            <a:ext cx="557050" cy="22903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6145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D43BCCB-856C-422B-B0A7-B9F360F0BB6E}"/>
              </a:ext>
            </a:extLst>
          </p:cNvPr>
          <p:cNvSpPr/>
          <p:nvPr/>
        </p:nvSpPr>
        <p:spPr>
          <a:xfrm>
            <a:off x="180108" y="2126987"/>
            <a:ext cx="11870865" cy="2185703"/>
          </a:xfrm>
          <a:prstGeom prst="rect">
            <a:avLst/>
          </a:prstGeom>
          <a:solidFill>
            <a:srgbClr val="F9F9F9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180109" y="-186"/>
            <a:ext cx="10940348" cy="766685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7500"/>
          </a:bodyPr>
          <a:lstStyle>
            <a:lvl1pPr algn="l" defTabSz="91443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>
                <a:solidFill>
                  <a:srgbClr val="121A4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sz="2700" dirty="0">
                <a:solidFill>
                  <a:srgbClr val="0070C0"/>
                </a:solidFill>
                <a:latin typeface="Calibri" panose="020F0502020204030204" pitchFamily="34" charset="0"/>
              </a:rPr>
              <a:t>Proposed Working Model 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023464"/>
              </p:ext>
            </p:extLst>
          </p:nvPr>
        </p:nvGraphicFramePr>
        <p:xfrm>
          <a:off x="180108" y="4892787"/>
          <a:ext cx="8357811" cy="7682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2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16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1710">
                  <a:extLst>
                    <a:ext uri="{9D8B030D-6E8A-4147-A177-3AD203B41FA5}">
                      <a16:colId xmlns:a16="http://schemas.microsoft.com/office/drawing/2014/main" val="2538613379"/>
                    </a:ext>
                  </a:extLst>
                </a:gridCol>
                <a:gridCol w="24020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627">
                <a:tc>
                  <a:txBody>
                    <a:bodyPr/>
                    <a:lstStyle/>
                    <a:p>
                      <a:r>
                        <a:rPr lang="en-GB" sz="1600" dirty="0"/>
                        <a:t>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Avg. Day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# of 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Daily 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7574">
                <a:tc>
                  <a:txBody>
                    <a:bodyPr/>
                    <a:lstStyle/>
                    <a:p>
                      <a:r>
                        <a:rPr lang="en-GB" sz="1600" dirty="0"/>
                        <a:t>Develo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2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£1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671EF33-90F7-41CC-ABD5-B982B833939E}"/>
              </a:ext>
            </a:extLst>
          </p:cNvPr>
          <p:cNvSpPr txBox="1"/>
          <p:nvPr/>
        </p:nvSpPr>
        <p:spPr>
          <a:xfrm>
            <a:off x="180108" y="832306"/>
            <a:ext cx="1201189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Option 1 – 100% Onsite</a:t>
            </a:r>
          </a:p>
          <a:p>
            <a:endParaRPr lang="en-GB" b="1" dirty="0">
              <a:solidFill>
                <a:srgbClr val="0070C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All developers will be onsit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There will be a mix of experience levels to leverage cost advantage</a:t>
            </a:r>
          </a:p>
          <a:p>
            <a:endParaRPr lang="en-GB" dirty="0"/>
          </a:p>
          <a:p>
            <a:r>
              <a:rPr lang="en-GB" b="1" u="sng" dirty="0"/>
              <a:t>Benefits:</a:t>
            </a:r>
          </a:p>
          <a:p>
            <a:endParaRPr lang="en-GB" dirty="0"/>
          </a:p>
          <a:p>
            <a:pPr marL="342900" indent="-342900">
              <a:buAutoNum type="arabicPeriod"/>
            </a:pPr>
            <a:r>
              <a:rPr lang="en-GB" sz="1600" dirty="0"/>
              <a:t>100% client* facing</a:t>
            </a:r>
          </a:p>
          <a:p>
            <a:pPr marL="342900" indent="-342900">
              <a:buAutoNum type="arabicPeriod"/>
            </a:pPr>
            <a:r>
              <a:rPr lang="en-GB" sz="1600" dirty="0"/>
              <a:t>Client gets to manage all resources personally</a:t>
            </a:r>
          </a:p>
          <a:p>
            <a:pPr marL="342900" indent="-342900">
              <a:buAutoNum type="arabicPeriod"/>
            </a:pPr>
            <a:r>
              <a:rPr lang="en-GB" sz="1600" dirty="0"/>
              <a:t>Faster turn around for communication</a:t>
            </a:r>
          </a:p>
          <a:p>
            <a:pPr marL="342900" indent="-342900">
              <a:buAutoNum type="arabicPeriod"/>
            </a:pPr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BD5512-4A81-423A-9892-B59A7203AC44}"/>
              </a:ext>
            </a:extLst>
          </p:cNvPr>
          <p:cNvSpPr/>
          <p:nvPr/>
        </p:nvSpPr>
        <p:spPr>
          <a:xfrm>
            <a:off x="6100548" y="2132422"/>
            <a:ext cx="5950425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u="sng" dirty="0"/>
              <a:t>Challenges:</a:t>
            </a:r>
          </a:p>
          <a:p>
            <a:endParaRPr lang="en-GB" dirty="0"/>
          </a:p>
          <a:p>
            <a:pPr marL="342900" indent="-342900">
              <a:buAutoNum type="arabicPeriod"/>
            </a:pPr>
            <a:r>
              <a:rPr lang="en-GB" sz="1600" dirty="0"/>
              <a:t>High cost </a:t>
            </a:r>
          </a:p>
          <a:p>
            <a:pPr marL="342900" indent="-342900">
              <a:buAutoNum type="arabicPeriod"/>
            </a:pPr>
            <a:r>
              <a:rPr lang="en-GB" sz="1600" dirty="0"/>
              <a:t>Needs a lot of client time and engagement</a:t>
            </a:r>
          </a:p>
          <a:p>
            <a:pPr marL="342900" indent="-342900">
              <a:buAutoNum type="arabicPeriod"/>
            </a:pPr>
            <a:r>
              <a:rPr lang="en-GB" sz="1600" dirty="0"/>
              <a:t>Logistics – more space, more resources needed at onsite at a higher cost</a:t>
            </a:r>
          </a:p>
          <a:p>
            <a:pPr marL="342900" indent="-342900">
              <a:buAutoNum type="arabicPeriod"/>
            </a:pPr>
            <a:r>
              <a:rPr lang="en-GB" sz="1600" dirty="0"/>
              <a:t>Resource availability 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A284B0-ED18-4E81-8ABD-18B53BBC5A30}"/>
              </a:ext>
            </a:extLst>
          </p:cNvPr>
          <p:cNvSpPr txBox="1"/>
          <p:nvPr/>
        </p:nvSpPr>
        <p:spPr>
          <a:xfrm>
            <a:off x="180108" y="4517285"/>
            <a:ext cx="33000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Representative Sample -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68E619-5F0B-43BB-9EE7-9F10AE2A5032}"/>
              </a:ext>
            </a:extLst>
          </p:cNvPr>
          <p:cNvSpPr txBox="1"/>
          <p:nvPr/>
        </p:nvSpPr>
        <p:spPr>
          <a:xfrm>
            <a:off x="0" y="6445352"/>
            <a:ext cx="46265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i="1" dirty="0"/>
              <a:t>*Client = Hedgehog Business Solutions</a:t>
            </a:r>
          </a:p>
        </p:txBody>
      </p:sp>
    </p:spTree>
    <p:extLst>
      <p:ext uri="{BB962C8B-B14F-4D97-AF65-F5344CB8AC3E}">
        <p14:creationId xmlns:p14="http://schemas.microsoft.com/office/powerpoint/2010/main" val="4185395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D43BCCB-856C-422B-B0A7-B9F360F0BB6E}"/>
              </a:ext>
            </a:extLst>
          </p:cNvPr>
          <p:cNvSpPr/>
          <p:nvPr/>
        </p:nvSpPr>
        <p:spPr>
          <a:xfrm>
            <a:off x="180108" y="2113339"/>
            <a:ext cx="11870865" cy="2267594"/>
          </a:xfrm>
          <a:prstGeom prst="rect">
            <a:avLst/>
          </a:prstGeom>
          <a:solidFill>
            <a:srgbClr val="F9F9F9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180109" y="-186"/>
            <a:ext cx="10940348" cy="766685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7500"/>
          </a:bodyPr>
          <a:lstStyle>
            <a:lvl1pPr algn="l" defTabSz="91443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>
                <a:solidFill>
                  <a:srgbClr val="121A4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sz="2700" dirty="0">
                <a:solidFill>
                  <a:srgbClr val="0070C0"/>
                </a:solidFill>
                <a:latin typeface="Calibri" panose="020F0502020204030204" pitchFamily="34" charset="0"/>
              </a:rPr>
              <a:t>Proposed Working Model 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8416094"/>
              </p:ext>
            </p:extLst>
          </p:nvPr>
        </p:nvGraphicFramePr>
        <p:xfrm>
          <a:off x="180108" y="4971174"/>
          <a:ext cx="7738281" cy="13641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1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96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5092">
                  <a:extLst>
                    <a:ext uri="{9D8B030D-6E8A-4147-A177-3AD203B41FA5}">
                      <a16:colId xmlns:a16="http://schemas.microsoft.com/office/drawing/2014/main" val="2538613379"/>
                    </a:ext>
                  </a:extLst>
                </a:gridCol>
                <a:gridCol w="17816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3530">
                <a:tc>
                  <a:txBody>
                    <a:bodyPr/>
                    <a:lstStyle/>
                    <a:p>
                      <a:r>
                        <a:rPr lang="en-GB" sz="1600" dirty="0"/>
                        <a:t>Ro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Avg. Day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# of 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Daily 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3530">
                <a:tc>
                  <a:txBody>
                    <a:bodyPr/>
                    <a:lstStyle/>
                    <a:p>
                      <a:r>
                        <a:rPr lang="en-GB" sz="1600" dirty="0"/>
                        <a:t>Developer - Ons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2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5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530">
                <a:tc>
                  <a:txBody>
                    <a:bodyPr/>
                    <a:lstStyle/>
                    <a:p>
                      <a:r>
                        <a:rPr lang="en-GB" sz="1600" dirty="0"/>
                        <a:t>Developer - Offsh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2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5678440"/>
                  </a:ext>
                </a:extLst>
              </a:tr>
              <a:tr h="358275">
                <a:tc>
                  <a:txBody>
                    <a:bodyPr/>
                    <a:lstStyle/>
                    <a:p>
                      <a:r>
                        <a:rPr lang="en-GB" sz="1600" b="1" dirty="0"/>
                        <a:t>DAY 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£8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16598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671EF33-90F7-41CC-ABD5-B982B833939E}"/>
              </a:ext>
            </a:extLst>
          </p:cNvPr>
          <p:cNvSpPr txBox="1"/>
          <p:nvPr/>
        </p:nvSpPr>
        <p:spPr>
          <a:xfrm>
            <a:off x="180108" y="832306"/>
            <a:ext cx="1146143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Option 2 – 50:50 On/Off Ratio</a:t>
            </a:r>
          </a:p>
          <a:p>
            <a:endParaRPr lang="en-GB" b="1" dirty="0">
              <a:solidFill>
                <a:srgbClr val="0070C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50% developers will be onsite, 50% will be offshor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There will be a mix of experience levels to leverage cost advantage</a:t>
            </a:r>
          </a:p>
          <a:p>
            <a:endParaRPr lang="en-GB" dirty="0"/>
          </a:p>
          <a:p>
            <a:pPr marL="342900" indent="-342900">
              <a:buAutoNum type="arabicPeriod"/>
            </a:pPr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BD5512-4A81-423A-9892-B59A7203AC44}"/>
              </a:ext>
            </a:extLst>
          </p:cNvPr>
          <p:cNvSpPr/>
          <p:nvPr/>
        </p:nvSpPr>
        <p:spPr>
          <a:xfrm>
            <a:off x="6023210" y="2126987"/>
            <a:ext cx="6027763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u="sng" dirty="0"/>
              <a:t>Challenges:</a:t>
            </a:r>
            <a:endParaRPr lang="en-GB" dirty="0"/>
          </a:p>
          <a:p>
            <a:pPr marL="342900" indent="-342900">
              <a:spcBef>
                <a:spcPts val="600"/>
              </a:spcBef>
              <a:buAutoNum type="arabicPeriod"/>
            </a:pPr>
            <a:r>
              <a:rPr lang="en-GB" sz="1600" dirty="0"/>
              <a:t>Initial effort and time investment to train new resources</a:t>
            </a:r>
          </a:p>
          <a:p>
            <a:pPr marL="342900" indent="-342900">
              <a:buAutoNum type="arabicPeriod"/>
            </a:pPr>
            <a:r>
              <a:rPr lang="en-GB" sz="1600" dirty="0"/>
              <a:t>More email and telephonic communication could slow down response to an extent  </a:t>
            </a:r>
          </a:p>
          <a:p>
            <a:pPr marL="342900" indent="-342900">
              <a:buAutoNum type="arabicPeriod"/>
            </a:pPr>
            <a:r>
              <a:rPr lang="en-GB" sz="1600" dirty="0"/>
              <a:t>Limited visibility at times </a:t>
            </a:r>
          </a:p>
          <a:p>
            <a:pPr marL="342900" indent="-342900">
              <a:buAutoNum type="arabicPeriod"/>
            </a:pPr>
            <a:endParaRPr lang="en-GB" dirty="0"/>
          </a:p>
          <a:p>
            <a:pPr marL="342900" indent="-342900">
              <a:buAutoNum type="arabicPeriod"/>
            </a:pP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A284B0-ED18-4E81-8ABD-18B53BBC5A30}"/>
              </a:ext>
            </a:extLst>
          </p:cNvPr>
          <p:cNvSpPr txBox="1"/>
          <p:nvPr/>
        </p:nvSpPr>
        <p:spPr>
          <a:xfrm>
            <a:off x="111868" y="4546843"/>
            <a:ext cx="33000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Representative Sample -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361C06-A968-4D33-A997-373BC5419B85}"/>
              </a:ext>
            </a:extLst>
          </p:cNvPr>
          <p:cNvSpPr txBox="1"/>
          <p:nvPr/>
        </p:nvSpPr>
        <p:spPr>
          <a:xfrm>
            <a:off x="180108" y="6525770"/>
            <a:ext cx="46265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i="1" dirty="0"/>
              <a:t>*Client = Hedgehog Business Solu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364909-C012-4927-9765-5954AEFCA96B}"/>
              </a:ext>
            </a:extLst>
          </p:cNvPr>
          <p:cNvSpPr txBox="1"/>
          <p:nvPr/>
        </p:nvSpPr>
        <p:spPr>
          <a:xfrm>
            <a:off x="180108" y="2113339"/>
            <a:ext cx="584310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/>
              <a:t>Benefits:</a:t>
            </a:r>
          </a:p>
          <a:p>
            <a:pPr marL="342900" indent="-342900">
              <a:spcBef>
                <a:spcPts val="600"/>
              </a:spcBef>
              <a:buAutoNum type="arabicPeriod"/>
            </a:pPr>
            <a:r>
              <a:rPr lang="en-GB" sz="1600" dirty="0"/>
              <a:t>Cost effective</a:t>
            </a:r>
          </a:p>
          <a:p>
            <a:pPr marL="342900" indent="-342900">
              <a:buAutoNum type="arabicPeriod"/>
            </a:pPr>
            <a:r>
              <a:rPr lang="en-GB" sz="1600" dirty="0"/>
              <a:t>Time difference can be leveraged for higher productivity per day</a:t>
            </a:r>
          </a:p>
          <a:p>
            <a:pPr marL="342900" indent="-342900">
              <a:buAutoNum type="arabicPeriod"/>
            </a:pPr>
            <a:r>
              <a:rPr lang="en-GB" sz="1600" dirty="0"/>
              <a:t>Shared responsibility managing resources, creating more bandwidth for client </a:t>
            </a:r>
          </a:p>
          <a:p>
            <a:pPr marL="342900" indent="-342900">
              <a:buAutoNum type="arabicPeriod"/>
            </a:pPr>
            <a:r>
              <a:rPr lang="en-GB" sz="1600" dirty="0"/>
              <a:t>Lesser resources required (logistics)</a:t>
            </a:r>
          </a:p>
          <a:p>
            <a:pPr marL="342900" indent="-342900">
              <a:buAutoNum type="arabicPeriod"/>
            </a:pPr>
            <a:r>
              <a:rPr lang="en-GB" sz="1600" dirty="0"/>
              <a:t>Bigger teams for lesser cost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2A1963-1A81-4A00-9A10-CC2887E1F728}"/>
              </a:ext>
            </a:extLst>
          </p:cNvPr>
          <p:cNvSpPr/>
          <p:nvPr/>
        </p:nvSpPr>
        <p:spPr>
          <a:xfrm>
            <a:off x="8310956" y="5498130"/>
            <a:ext cx="3740017" cy="7116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601E08-E90E-40C1-B0E4-288BDD8A4D40}"/>
              </a:ext>
            </a:extLst>
          </p:cNvPr>
          <p:cNvSpPr txBox="1"/>
          <p:nvPr/>
        </p:nvSpPr>
        <p:spPr>
          <a:xfrm>
            <a:off x="8530284" y="5561543"/>
            <a:ext cx="34651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rgbClr val="C00000"/>
                </a:solidFill>
              </a:rPr>
              <a:t>Cost saving of c.£75,400 per year for a small team of 4 resources </a:t>
            </a: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350A1C12-2CA5-4FF4-8EDC-A48057C92B6A}"/>
              </a:ext>
            </a:extLst>
          </p:cNvPr>
          <p:cNvSpPr/>
          <p:nvPr/>
        </p:nvSpPr>
        <p:spPr>
          <a:xfrm>
            <a:off x="8186732" y="5344285"/>
            <a:ext cx="288000" cy="32053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742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997DF58-A76A-4990-8DE8-424355ECD666}"/>
              </a:ext>
            </a:extLst>
          </p:cNvPr>
          <p:cNvSpPr txBox="1"/>
          <p:nvPr/>
        </p:nvSpPr>
        <p:spPr>
          <a:xfrm>
            <a:off x="4339987" y="2679252"/>
            <a:ext cx="37121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400" b="1" dirty="0"/>
              <a:t>Thank You</a:t>
            </a:r>
          </a:p>
        </p:txBody>
      </p:sp>
      <p:pic>
        <p:nvPicPr>
          <p:cNvPr id="14" name="Picture 8" descr="fleet_template-">
            <a:extLst>
              <a:ext uri="{FF2B5EF4-FFF2-40B4-BE49-F238E27FC236}">
                <a16:creationId xmlns:a16="http://schemas.microsoft.com/office/drawing/2014/main" id="{C7B9974F-A3F7-4A7C-87EF-360598F2D7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r="37214" b="11789"/>
          <a:stretch/>
        </p:blipFill>
        <p:spPr bwMode="auto">
          <a:xfrm>
            <a:off x="536813" y="0"/>
            <a:ext cx="3066196" cy="1827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71760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Accenture Bubble">
  <a:themeElements>
    <a:clrScheme name="Accenture_FINAL">
      <a:dk1>
        <a:srgbClr val="000000"/>
      </a:dk1>
      <a:lt1>
        <a:sysClr val="window" lastClr="FFFFFF"/>
      </a:lt1>
      <a:dk2>
        <a:srgbClr val="1F497D"/>
      </a:dk2>
      <a:lt2>
        <a:srgbClr val="E3DEDC"/>
      </a:lt2>
      <a:accent1>
        <a:srgbClr val="0033CC"/>
      </a:accent1>
      <a:accent2>
        <a:srgbClr val="00A400"/>
      </a:accent2>
      <a:accent3>
        <a:srgbClr val="FF9A05"/>
      </a:accent3>
      <a:accent4>
        <a:srgbClr val="FF0000"/>
      </a:accent4>
      <a:accent5>
        <a:srgbClr val="800080"/>
      </a:accent5>
      <a:accent6>
        <a:srgbClr val="00AEEF"/>
      </a:accent6>
      <a:hlink>
        <a:srgbClr val="0033CC"/>
      </a:hlink>
      <a:folHlink>
        <a:srgbClr val="771E28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6_Accenture Bubble">
  <a:themeElements>
    <a:clrScheme name="Accenture_FINAL">
      <a:dk1>
        <a:srgbClr val="000000"/>
      </a:dk1>
      <a:lt1>
        <a:sysClr val="window" lastClr="FFFFFF"/>
      </a:lt1>
      <a:dk2>
        <a:srgbClr val="1F497D"/>
      </a:dk2>
      <a:lt2>
        <a:srgbClr val="E3DEDC"/>
      </a:lt2>
      <a:accent1>
        <a:srgbClr val="0033CC"/>
      </a:accent1>
      <a:accent2>
        <a:srgbClr val="00A400"/>
      </a:accent2>
      <a:accent3>
        <a:srgbClr val="FF9A05"/>
      </a:accent3>
      <a:accent4>
        <a:srgbClr val="FF0000"/>
      </a:accent4>
      <a:accent5>
        <a:srgbClr val="800080"/>
      </a:accent5>
      <a:accent6>
        <a:srgbClr val="00AEEF"/>
      </a:accent6>
      <a:hlink>
        <a:srgbClr val="0033CC"/>
      </a:hlink>
      <a:folHlink>
        <a:srgbClr val="771E28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ccenture_FINAL">
    <a:dk1>
      <a:srgbClr val="000000"/>
    </a:dk1>
    <a:lt1>
      <a:sysClr val="window" lastClr="FFFFFF"/>
    </a:lt1>
    <a:dk2>
      <a:srgbClr val="1F497D"/>
    </a:dk2>
    <a:lt2>
      <a:srgbClr val="E3DEDC"/>
    </a:lt2>
    <a:accent1>
      <a:srgbClr val="0033CC"/>
    </a:accent1>
    <a:accent2>
      <a:srgbClr val="00A400"/>
    </a:accent2>
    <a:accent3>
      <a:srgbClr val="FF9A05"/>
    </a:accent3>
    <a:accent4>
      <a:srgbClr val="FF0000"/>
    </a:accent4>
    <a:accent5>
      <a:srgbClr val="800080"/>
    </a:accent5>
    <a:accent6>
      <a:srgbClr val="00AEEF"/>
    </a:accent6>
    <a:hlink>
      <a:srgbClr val="0033CC"/>
    </a:hlink>
    <a:folHlink>
      <a:srgbClr val="771E28"/>
    </a:folHlink>
  </a:clrScheme>
</a:themeOverride>
</file>

<file path=ppt/theme/themeOverride2.xml><?xml version="1.0" encoding="utf-8"?>
<a:themeOverride xmlns:a="http://schemas.openxmlformats.org/drawingml/2006/main">
  <a:clrScheme name="Accenture_FINAL">
    <a:dk1>
      <a:srgbClr val="000000"/>
    </a:dk1>
    <a:lt1>
      <a:sysClr val="window" lastClr="FFFFFF"/>
    </a:lt1>
    <a:dk2>
      <a:srgbClr val="1F497D"/>
    </a:dk2>
    <a:lt2>
      <a:srgbClr val="E3DEDC"/>
    </a:lt2>
    <a:accent1>
      <a:srgbClr val="0033CC"/>
    </a:accent1>
    <a:accent2>
      <a:srgbClr val="00A400"/>
    </a:accent2>
    <a:accent3>
      <a:srgbClr val="FF9A05"/>
    </a:accent3>
    <a:accent4>
      <a:srgbClr val="FF0000"/>
    </a:accent4>
    <a:accent5>
      <a:srgbClr val="800080"/>
    </a:accent5>
    <a:accent6>
      <a:srgbClr val="00AEEF"/>
    </a:accent6>
    <a:hlink>
      <a:srgbClr val="0033CC"/>
    </a:hlink>
    <a:folHlink>
      <a:srgbClr val="771E28"/>
    </a:folHlink>
  </a:clrScheme>
</a:themeOverride>
</file>

<file path=ppt/theme/themeOverride3.xml><?xml version="1.0" encoding="utf-8"?>
<a:themeOverride xmlns:a="http://schemas.openxmlformats.org/drawingml/2006/main">
  <a:clrScheme name="Accenture_FINAL">
    <a:dk1>
      <a:srgbClr val="000000"/>
    </a:dk1>
    <a:lt1>
      <a:sysClr val="window" lastClr="FFFFFF"/>
    </a:lt1>
    <a:dk2>
      <a:srgbClr val="1F497D"/>
    </a:dk2>
    <a:lt2>
      <a:srgbClr val="E3DEDC"/>
    </a:lt2>
    <a:accent1>
      <a:srgbClr val="0033CC"/>
    </a:accent1>
    <a:accent2>
      <a:srgbClr val="00A400"/>
    </a:accent2>
    <a:accent3>
      <a:srgbClr val="FF9A05"/>
    </a:accent3>
    <a:accent4>
      <a:srgbClr val="FF0000"/>
    </a:accent4>
    <a:accent5>
      <a:srgbClr val="800080"/>
    </a:accent5>
    <a:accent6>
      <a:srgbClr val="00AEEF"/>
    </a:accent6>
    <a:hlink>
      <a:srgbClr val="0033CC"/>
    </a:hlink>
    <a:folHlink>
      <a:srgbClr val="771E28"/>
    </a:folHlink>
  </a:clrScheme>
</a:themeOverride>
</file>

<file path=ppt/theme/themeOverride4.xml><?xml version="1.0" encoding="utf-8"?>
<a:themeOverride xmlns:a="http://schemas.openxmlformats.org/drawingml/2006/main">
  <a:clrScheme name="Accenture_FINAL">
    <a:dk1>
      <a:srgbClr val="000000"/>
    </a:dk1>
    <a:lt1>
      <a:sysClr val="window" lastClr="FFFFFF"/>
    </a:lt1>
    <a:dk2>
      <a:srgbClr val="1F497D"/>
    </a:dk2>
    <a:lt2>
      <a:srgbClr val="E3DEDC"/>
    </a:lt2>
    <a:accent1>
      <a:srgbClr val="0033CC"/>
    </a:accent1>
    <a:accent2>
      <a:srgbClr val="00A400"/>
    </a:accent2>
    <a:accent3>
      <a:srgbClr val="FF9A05"/>
    </a:accent3>
    <a:accent4>
      <a:srgbClr val="FF0000"/>
    </a:accent4>
    <a:accent5>
      <a:srgbClr val="800080"/>
    </a:accent5>
    <a:accent6>
      <a:srgbClr val="00AEEF"/>
    </a:accent6>
    <a:hlink>
      <a:srgbClr val="0033CC"/>
    </a:hlink>
    <a:folHlink>
      <a:srgbClr val="771E2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66</TotalTime>
  <Words>308</Words>
  <Application>Microsoft Office PowerPoint</Application>
  <PresentationFormat>Widescreen</PresentationFormat>
  <Paragraphs>7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Wingdings</vt:lpstr>
      <vt:lpstr>Wingdings 2</vt:lpstr>
      <vt:lpstr>5_Accenture Bubble</vt:lpstr>
      <vt:lpstr>6_Accenture Bubbl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eta Paranjape</dc:creator>
  <cp:lastModifiedBy>Shafi Shaik</cp:lastModifiedBy>
  <cp:revision>58</cp:revision>
  <cp:lastPrinted>2017-08-09T13:25:02Z</cp:lastPrinted>
  <dcterms:created xsi:type="dcterms:W3CDTF">2015-09-14T14:30:20Z</dcterms:created>
  <dcterms:modified xsi:type="dcterms:W3CDTF">2017-08-09T13:48:45Z</dcterms:modified>
</cp:coreProperties>
</file>